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Fredoka SemiBold" pitchFamily="2" charset="-79"/>
      <p:bold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F81BD"/>
    <a:srgbClr val="2946BF"/>
    <a:srgbClr val="FFF7EF"/>
    <a:srgbClr val="FFEA97"/>
    <a:srgbClr val="FFFCED"/>
    <a:srgbClr val="FFF8E2"/>
    <a:srgbClr val="4D7389"/>
    <a:srgbClr val="FFFAF2"/>
    <a:srgbClr val="3B9F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>
        <p:scale>
          <a:sx n="400" d="100"/>
          <a:sy n="400" d="100"/>
        </p:scale>
        <p:origin x="-5334" y="-228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ableStyles" Target="tableStyles.xml"/><Relationship Id="rId5" Type="http://schemas.openxmlformats.org/officeDocument/2006/relationships/font" Target="fonts/font3.fntdata"/><Relationship Id="rId10" Type="http://schemas.openxmlformats.org/officeDocument/2006/relationships/theme" Target="theme/theme1.xml"/><Relationship Id="rId4" Type="http://schemas.openxmlformats.org/officeDocument/2006/relationships/font" Target="fonts/font2.fntdata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">
            <a:extLst>
              <a:ext uri="{FF2B5EF4-FFF2-40B4-BE49-F238E27FC236}">
                <a16:creationId xmlns:a16="http://schemas.microsoft.com/office/drawing/2014/main" id="{34EC5E6A-76E4-B584-FFEE-00ACC49071ED}"/>
              </a:ext>
            </a:extLst>
          </p:cNvPr>
          <p:cNvGrpSpPr/>
          <p:nvPr/>
        </p:nvGrpSpPr>
        <p:grpSpPr>
          <a:xfrm>
            <a:off x="-378310" y="-295601"/>
            <a:ext cx="8332393" cy="11191766"/>
            <a:chOff x="-378310" y="-295601"/>
            <a:chExt cx="8332393" cy="11191766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2B1D80A-EF6B-49B2-FEA9-1D5C248D494D}"/>
                </a:ext>
              </a:extLst>
            </p:cNvPr>
            <p:cNvGrpSpPr/>
            <p:nvPr/>
          </p:nvGrpSpPr>
          <p:grpSpPr>
            <a:xfrm>
              <a:off x="-378310" y="-295601"/>
              <a:ext cx="8332393" cy="11191766"/>
              <a:chOff x="-378310" y="-295601"/>
              <a:chExt cx="8332393" cy="11191766"/>
            </a:xfrm>
          </p:grpSpPr>
          <p:sp>
            <p:nvSpPr>
              <p:cNvPr id="2" name="Freeform 2"/>
              <p:cNvSpPr/>
              <p:nvPr/>
            </p:nvSpPr>
            <p:spPr>
              <a:xfrm rot="2192027">
                <a:off x="6747341" y="9441704"/>
                <a:ext cx="497774" cy="1222213"/>
              </a:xfrm>
              <a:custGeom>
                <a:avLst/>
                <a:gdLst/>
                <a:ahLst/>
                <a:cxnLst/>
                <a:rect l="l" t="t" r="r" b="b"/>
                <a:pathLst>
                  <a:path w="497774" h="1222213">
                    <a:moveTo>
                      <a:pt x="0" y="0"/>
                    </a:moveTo>
                    <a:lnTo>
                      <a:pt x="497774" y="0"/>
                    </a:lnTo>
                    <a:lnTo>
                      <a:pt x="497774" y="1222213"/>
                    </a:lnTo>
                    <a:lnTo>
                      <a:pt x="0" y="122221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62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6ECACF33-EB0E-1D13-4624-1C673A37CD84}"/>
                  </a:ext>
                </a:extLst>
              </p:cNvPr>
              <p:cNvSpPr/>
              <p:nvPr/>
            </p:nvSpPr>
            <p:spPr>
              <a:xfrm rot="2020433">
                <a:off x="-105014" y="9604173"/>
                <a:ext cx="747500" cy="1148393"/>
              </a:xfrm>
              <a:custGeom>
                <a:avLst/>
                <a:gdLst>
                  <a:gd name="connsiteX0" fmla="*/ 0 w 747500"/>
                  <a:gd name="connsiteY0" fmla="*/ 0 h 1148393"/>
                  <a:gd name="connsiteX1" fmla="*/ 747500 w 747500"/>
                  <a:gd name="connsiteY1" fmla="*/ 0 h 1148393"/>
                  <a:gd name="connsiteX2" fmla="*/ 747500 w 747500"/>
                  <a:gd name="connsiteY2" fmla="*/ 1148393 h 1148393"/>
                  <a:gd name="connsiteX3" fmla="*/ 433393 w 747500"/>
                  <a:gd name="connsiteY3" fmla="*/ 1148393 h 1148393"/>
                  <a:gd name="connsiteX4" fmla="*/ 0 w 747500"/>
                  <a:gd name="connsiteY4" fmla="*/ 497905 h 114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7500" h="1148393">
                    <a:moveTo>
                      <a:pt x="0" y="0"/>
                    </a:moveTo>
                    <a:lnTo>
                      <a:pt x="747500" y="0"/>
                    </a:lnTo>
                    <a:lnTo>
                      <a:pt x="747500" y="1148393"/>
                    </a:lnTo>
                    <a:lnTo>
                      <a:pt x="433393" y="1148393"/>
                    </a:lnTo>
                    <a:lnTo>
                      <a:pt x="0" y="497905"/>
                    </a:lnTo>
                    <a:close/>
                  </a:path>
                </a:pathLst>
              </a:custGeom>
              <a:blipFill>
                <a:blip r:embed="rId5">
                  <a:alphaModFix amt="62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D38C5FC-33BC-58FF-823A-EF3AFC185B84}"/>
                  </a:ext>
                </a:extLst>
              </p:cNvPr>
              <p:cNvSpPr/>
              <p:nvPr/>
            </p:nvSpPr>
            <p:spPr>
              <a:xfrm rot="2541504">
                <a:off x="6926403" y="7066214"/>
                <a:ext cx="1027680" cy="781999"/>
              </a:xfrm>
              <a:custGeom>
                <a:avLst/>
                <a:gdLst>
                  <a:gd name="connsiteX0" fmla="*/ 0 w 1027680"/>
                  <a:gd name="connsiteY0" fmla="*/ 0 h 781999"/>
                  <a:gd name="connsiteX1" fmla="*/ 314658 w 1027680"/>
                  <a:gd name="connsiteY1" fmla="*/ 0 h 781999"/>
                  <a:gd name="connsiteX2" fmla="*/ 1027680 w 1027680"/>
                  <a:gd name="connsiteY2" fmla="*/ 781999 h 781999"/>
                  <a:gd name="connsiteX3" fmla="*/ 0 w 1027680"/>
                  <a:gd name="connsiteY3" fmla="*/ 781999 h 78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7680" h="781999">
                    <a:moveTo>
                      <a:pt x="0" y="0"/>
                    </a:moveTo>
                    <a:lnTo>
                      <a:pt x="314658" y="0"/>
                    </a:lnTo>
                    <a:lnTo>
                      <a:pt x="1027680" y="781999"/>
                    </a:lnTo>
                    <a:lnTo>
                      <a:pt x="0" y="781999"/>
                    </a:lnTo>
                    <a:close/>
                  </a:path>
                </a:pathLst>
              </a:custGeom>
              <a:blipFill>
                <a:blip r:embed="rId7">
                  <a:alphaModFix amt="62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630C32FA-4E53-2AB2-115D-114FECEBEC38}"/>
                  </a:ext>
                </a:extLst>
              </p:cNvPr>
              <p:cNvSpPr/>
              <p:nvPr/>
            </p:nvSpPr>
            <p:spPr>
              <a:xfrm rot="19707434">
                <a:off x="1781666" y="10208632"/>
                <a:ext cx="571905" cy="687533"/>
              </a:xfrm>
              <a:custGeom>
                <a:avLst/>
                <a:gdLst>
                  <a:gd name="connsiteX0" fmla="*/ 571905 w 571905"/>
                  <a:gd name="connsiteY0" fmla="*/ 0 h 687533"/>
                  <a:gd name="connsiteX1" fmla="*/ 571905 w 571905"/>
                  <a:gd name="connsiteY1" fmla="*/ 687533 h 687533"/>
                  <a:gd name="connsiteX2" fmla="*/ 0 w 571905"/>
                  <a:gd name="connsiteY2" fmla="*/ 336481 h 687533"/>
                  <a:gd name="connsiteX3" fmla="*/ 0 w 571905"/>
                  <a:gd name="connsiteY3" fmla="*/ 0 h 68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1905" h="687533">
                    <a:moveTo>
                      <a:pt x="571905" y="0"/>
                    </a:moveTo>
                    <a:lnTo>
                      <a:pt x="571905" y="687533"/>
                    </a:lnTo>
                    <a:lnTo>
                      <a:pt x="0" y="33648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62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t="1" b="-200421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A23CC821-9C4C-1D23-4F54-97983C74EEE8}"/>
                  </a:ext>
                </a:extLst>
              </p:cNvPr>
              <p:cNvSpPr/>
              <p:nvPr/>
            </p:nvSpPr>
            <p:spPr>
              <a:xfrm rot="718299">
                <a:off x="5304650" y="10221565"/>
                <a:ext cx="448592" cy="525051"/>
              </a:xfrm>
              <a:custGeom>
                <a:avLst/>
                <a:gdLst>
                  <a:gd name="connsiteX0" fmla="*/ 0 w 448592"/>
                  <a:gd name="connsiteY0" fmla="*/ 0 h 525051"/>
                  <a:gd name="connsiteX1" fmla="*/ 448592 w 448592"/>
                  <a:gd name="connsiteY1" fmla="*/ 0 h 525051"/>
                  <a:gd name="connsiteX2" fmla="*/ 448592 w 448592"/>
                  <a:gd name="connsiteY2" fmla="*/ 429932 h 525051"/>
                  <a:gd name="connsiteX3" fmla="*/ 0 w 448592"/>
                  <a:gd name="connsiteY3" fmla="*/ 525051 h 525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592" h="525051">
                    <a:moveTo>
                      <a:pt x="0" y="0"/>
                    </a:moveTo>
                    <a:lnTo>
                      <a:pt x="448592" y="0"/>
                    </a:lnTo>
                    <a:lnTo>
                      <a:pt x="448592" y="429932"/>
                    </a:lnTo>
                    <a:lnTo>
                      <a:pt x="0" y="525051"/>
                    </a:lnTo>
                    <a:close/>
                  </a:path>
                </a:pathLst>
              </a:custGeom>
              <a:blipFill>
                <a:blip r:embed="rId11">
                  <a:alphaModFix amt="62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b="-143283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B81330B5-1344-1246-BB5A-F619A0EAAA49}"/>
                  </a:ext>
                </a:extLst>
              </p:cNvPr>
              <p:cNvSpPr/>
              <p:nvPr/>
            </p:nvSpPr>
            <p:spPr>
              <a:xfrm rot="2700000">
                <a:off x="-268807" y="4499837"/>
                <a:ext cx="1232228" cy="1451233"/>
              </a:xfrm>
              <a:custGeom>
                <a:avLst/>
                <a:gdLst>
                  <a:gd name="connsiteX0" fmla="*/ 0 w 1232228"/>
                  <a:gd name="connsiteY0" fmla="*/ 0 h 1451233"/>
                  <a:gd name="connsiteX1" fmla="*/ 1232228 w 1232228"/>
                  <a:gd name="connsiteY1" fmla="*/ 0 h 1451233"/>
                  <a:gd name="connsiteX2" fmla="*/ 1232228 w 1232228"/>
                  <a:gd name="connsiteY2" fmla="*/ 1451233 h 1451233"/>
                  <a:gd name="connsiteX3" fmla="*/ 850563 w 1232228"/>
                  <a:gd name="connsiteY3" fmla="*/ 1451233 h 1451233"/>
                  <a:gd name="connsiteX4" fmla="*/ 0 w 1232228"/>
                  <a:gd name="connsiteY4" fmla="*/ 600669 h 145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2228" h="1451233">
                    <a:moveTo>
                      <a:pt x="0" y="0"/>
                    </a:moveTo>
                    <a:lnTo>
                      <a:pt x="1232228" y="0"/>
                    </a:lnTo>
                    <a:lnTo>
                      <a:pt x="1232228" y="1451233"/>
                    </a:lnTo>
                    <a:lnTo>
                      <a:pt x="850563" y="1451233"/>
                    </a:lnTo>
                    <a:lnTo>
                      <a:pt x="0" y="600669"/>
                    </a:lnTo>
                    <a:close/>
                  </a:path>
                </a:pathLst>
              </a:custGeom>
              <a:blipFill>
                <a:blip r:embed="rId13">
                  <a:alphaModFix amt="62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C864DC97-8F44-AA2F-E687-B069B66A5B31}"/>
                  </a:ext>
                </a:extLst>
              </p:cNvPr>
              <p:cNvSpPr/>
              <p:nvPr/>
            </p:nvSpPr>
            <p:spPr>
              <a:xfrm rot="-1962088">
                <a:off x="6542969" y="4498479"/>
                <a:ext cx="1149121" cy="1950670"/>
              </a:xfrm>
              <a:custGeom>
                <a:avLst/>
                <a:gdLst>
                  <a:gd name="connsiteX0" fmla="*/ 1149121 w 1149121"/>
                  <a:gd name="connsiteY0" fmla="*/ 0 h 1950670"/>
                  <a:gd name="connsiteX1" fmla="*/ 1149121 w 1149121"/>
                  <a:gd name="connsiteY1" fmla="*/ 907542 h 1950670"/>
                  <a:gd name="connsiteX2" fmla="*/ 479407 w 1149121"/>
                  <a:gd name="connsiteY2" fmla="*/ 1950670 h 1950670"/>
                  <a:gd name="connsiteX3" fmla="*/ 0 w 1149121"/>
                  <a:gd name="connsiteY3" fmla="*/ 1950670 h 1950670"/>
                  <a:gd name="connsiteX4" fmla="*/ 0 w 1149121"/>
                  <a:gd name="connsiteY4" fmla="*/ 0 h 1950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9121" h="1950670">
                    <a:moveTo>
                      <a:pt x="1149121" y="0"/>
                    </a:moveTo>
                    <a:lnTo>
                      <a:pt x="1149121" y="907542"/>
                    </a:lnTo>
                    <a:lnTo>
                      <a:pt x="479407" y="1950670"/>
                    </a:lnTo>
                    <a:lnTo>
                      <a:pt x="0" y="195067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alphaModFix amt="62000"/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9" name="Freeform 9"/>
              <p:cNvSpPr/>
              <p:nvPr/>
            </p:nvSpPr>
            <p:spPr>
              <a:xfrm rot="1556322">
                <a:off x="331920" y="6960004"/>
                <a:ext cx="452358" cy="1110700"/>
              </a:xfrm>
              <a:custGeom>
                <a:avLst/>
                <a:gdLst/>
                <a:ahLst/>
                <a:cxnLst/>
                <a:rect l="l" t="t" r="r" b="b"/>
                <a:pathLst>
                  <a:path w="452358" h="1110700">
                    <a:moveTo>
                      <a:pt x="0" y="0"/>
                    </a:moveTo>
                    <a:lnTo>
                      <a:pt x="452358" y="0"/>
                    </a:lnTo>
                    <a:lnTo>
                      <a:pt x="452358" y="1110700"/>
                    </a:lnTo>
                    <a:lnTo>
                      <a:pt x="0" y="11107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alphaModFix amt="62000"/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1E8CAA-38F2-1FB3-0FED-1A4CC7E70266}"/>
                  </a:ext>
                </a:extLst>
              </p:cNvPr>
              <p:cNvSpPr/>
              <p:nvPr/>
            </p:nvSpPr>
            <p:spPr>
              <a:xfrm rot="-208424">
                <a:off x="-43361" y="1157566"/>
                <a:ext cx="891879" cy="1369369"/>
              </a:xfrm>
              <a:custGeom>
                <a:avLst/>
                <a:gdLst>
                  <a:gd name="connsiteX0" fmla="*/ 891879 w 891879"/>
                  <a:gd name="connsiteY0" fmla="*/ 0 h 1369369"/>
                  <a:gd name="connsiteX1" fmla="*/ 891879 w 891879"/>
                  <a:gd name="connsiteY1" fmla="*/ 1369369 h 1369369"/>
                  <a:gd name="connsiteX2" fmla="*/ 0 w 891879"/>
                  <a:gd name="connsiteY2" fmla="*/ 1369369 h 1369369"/>
                  <a:gd name="connsiteX3" fmla="*/ 83087 w 891879"/>
                  <a:gd name="connsiteY3" fmla="*/ 601 h 1369369"/>
                  <a:gd name="connsiteX4" fmla="*/ 73195 w 891879"/>
                  <a:gd name="connsiteY4" fmla="*/ 0 h 1369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1879" h="1369369">
                    <a:moveTo>
                      <a:pt x="891879" y="0"/>
                    </a:moveTo>
                    <a:lnTo>
                      <a:pt x="891879" y="1369369"/>
                    </a:lnTo>
                    <a:lnTo>
                      <a:pt x="0" y="1369369"/>
                    </a:lnTo>
                    <a:lnTo>
                      <a:pt x="83087" y="601"/>
                    </a:lnTo>
                    <a:lnTo>
                      <a:pt x="73195" y="0"/>
                    </a:lnTo>
                    <a:close/>
                  </a:path>
                </a:pathLst>
              </a:custGeom>
              <a:blipFill>
                <a:blip r:embed="rId19">
                  <a:alphaModFix amt="62000"/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 l="-37277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EE6415C0-D6A7-8CA7-23A7-8E9AE9556E52}"/>
                  </a:ext>
                </a:extLst>
              </p:cNvPr>
              <p:cNvSpPr/>
              <p:nvPr/>
            </p:nvSpPr>
            <p:spPr>
              <a:xfrm rot="210000" flipH="1">
                <a:off x="6711207" y="1157265"/>
                <a:ext cx="887920" cy="1369369"/>
              </a:xfrm>
              <a:custGeom>
                <a:avLst/>
                <a:gdLst>
                  <a:gd name="connsiteX0" fmla="*/ 887920 w 887920"/>
                  <a:gd name="connsiteY0" fmla="*/ 0 h 1369369"/>
                  <a:gd name="connsiteX1" fmla="*/ 83754 w 887920"/>
                  <a:gd name="connsiteY1" fmla="*/ 0 h 1369369"/>
                  <a:gd name="connsiteX2" fmla="*/ 0 w 887920"/>
                  <a:gd name="connsiteY2" fmla="*/ 1369369 h 1369369"/>
                  <a:gd name="connsiteX3" fmla="*/ 887920 w 887920"/>
                  <a:gd name="connsiteY3" fmla="*/ 1369369 h 1369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7920" h="1369369">
                    <a:moveTo>
                      <a:pt x="887920" y="0"/>
                    </a:moveTo>
                    <a:lnTo>
                      <a:pt x="83754" y="0"/>
                    </a:lnTo>
                    <a:lnTo>
                      <a:pt x="0" y="1369369"/>
                    </a:lnTo>
                    <a:lnTo>
                      <a:pt x="887920" y="1369369"/>
                    </a:lnTo>
                    <a:close/>
                  </a:path>
                </a:pathLst>
              </a:custGeom>
              <a:blipFill>
                <a:blip r:embed="rId19">
                  <a:alphaModFix amt="62000"/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 l="-46426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2FB2CE4B-9125-A370-D9CE-DF02D3D92E17}"/>
                  </a:ext>
                </a:extLst>
              </p:cNvPr>
              <p:cNvSpPr/>
              <p:nvPr/>
            </p:nvSpPr>
            <p:spPr>
              <a:xfrm rot="-1979596">
                <a:off x="1106265" y="-295601"/>
                <a:ext cx="1059357" cy="781998"/>
              </a:xfrm>
              <a:custGeom>
                <a:avLst/>
                <a:gdLst>
                  <a:gd name="connsiteX0" fmla="*/ 105929 w 1059357"/>
                  <a:gd name="connsiteY0" fmla="*/ 0 h 781998"/>
                  <a:gd name="connsiteX1" fmla="*/ 1059357 w 1059357"/>
                  <a:gd name="connsiteY1" fmla="*/ 619004 h 781998"/>
                  <a:gd name="connsiteX2" fmla="*/ 1059357 w 1059357"/>
                  <a:gd name="connsiteY2" fmla="*/ 781998 h 781998"/>
                  <a:gd name="connsiteX3" fmla="*/ 0 w 1059357"/>
                  <a:gd name="connsiteY3" fmla="*/ 781998 h 781998"/>
                  <a:gd name="connsiteX4" fmla="*/ 0 w 1059357"/>
                  <a:gd name="connsiteY4" fmla="*/ 0 h 781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9357" h="781998">
                    <a:moveTo>
                      <a:pt x="105929" y="0"/>
                    </a:moveTo>
                    <a:lnTo>
                      <a:pt x="1059357" y="619004"/>
                    </a:lnTo>
                    <a:lnTo>
                      <a:pt x="1059357" y="781998"/>
                    </a:lnTo>
                    <a:lnTo>
                      <a:pt x="0" y="78199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62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2D6439D-FCEC-5287-4E69-03F5BB8018CF}"/>
                  </a:ext>
                </a:extLst>
              </p:cNvPr>
              <p:cNvSpPr/>
              <p:nvPr/>
            </p:nvSpPr>
            <p:spPr>
              <a:xfrm rot="1980000">
                <a:off x="5394374" y="-280899"/>
                <a:ext cx="1059358" cy="781999"/>
              </a:xfrm>
              <a:custGeom>
                <a:avLst/>
                <a:gdLst>
                  <a:gd name="connsiteX0" fmla="*/ 0 w 1059358"/>
                  <a:gd name="connsiteY0" fmla="*/ 604437 h 781999"/>
                  <a:gd name="connsiteX1" fmla="*/ 930751 w 1059358"/>
                  <a:gd name="connsiteY1" fmla="*/ 0 h 781999"/>
                  <a:gd name="connsiteX2" fmla="*/ 1059358 w 1059358"/>
                  <a:gd name="connsiteY2" fmla="*/ 0 h 781999"/>
                  <a:gd name="connsiteX3" fmla="*/ 1059358 w 1059358"/>
                  <a:gd name="connsiteY3" fmla="*/ 781999 h 781999"/>
                  <a:gd name="connsiteX4" fmla="*/ 0 w 1059358"/>
                  <a:gd name="connsiteY4" fmla="*/ 781999 h 78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9358" h="781999">
                    <a:moveTo>
                      <a:pt x="0" y="604437"/>
                    </a:moveTo>
                    <a:lnTo>
                      <a:pt x="930751" y="0"/>
                    </a:lnTo>
                    <a:lnTo>
                      <a:pt x="1059358" y="0"/>
                    </a:lnTo>
                    <a:lnTo>
                      <a:pt x="1059358" y="781999"/>
                    </a:lnTo>
                    <a:lnTo>
                      <a:pt x="0" y="781999"/>
                    </a:lnTo>
                    <a:close/>
                  </a:path>
                </a:pathLst>
              </a:custGeom>
              <a:blipFill>
                <a:blip r:embed="rId7">
                  <a:alphaModFix amt="62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D13B253-726B-9062-2D1C-2CE051726CB9}"/>
                </a:ext>
              </a:extLst>
            </p:cNvPr>
            <p:cNvGrpSpPr/>
            <p:nvPr/>
          </p:nvGrpSpPr>
          <p:grpSpPr>
            <a:xfrm>
              <a:off x="756000" y="7112235"/>
              <a:ext cx="6046298" cy="2823765"/>
              <a:chOff x="756000" y="7112235"/>
              <a:chExt cx="6046298" cy="2823765"/>
            </a:xfrm>
          </p:grpSpPr>
          <p:sp>
            <p:nvSpPr>
              <p:cNvPr id="20" name="TextBox 20"/>
              <p:cNvSpPr txBox="1"/>
              <p:nvPr/>
            </p:nvSpPr>
            <p:spPr>
              <a:xfrm>
                <a:off x="764600" y="7112235"/>
                <a:ext cx="6037698" cy="45370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820"/>
                  </a:lnSpc>
                </a:pPr>
                <a:r>
                  <a:rPr lang="en-US" sz="1400" spc="28" dirty="0">
                    <a:solidFill>
                      <a:srgbClr val="2946BF"/>
                    </a:solidFill>
                    <a:latin typeface="Fredoka SemiBold" pitchFamily="2" charset="-79"/>
                  </a:rPr>
                  <a:t>Draw a picture or write a sentence about something you </a:t>
                </a:r>
              </a:p>
              <a:p>
                <a:pPr algn="ctr">
                  <a:lnSpc>
                    <a:spcPts val="1820"/>
                  </a:lnSpc>
                </a:pPr>
                <a:r>
                  <a:rPr lang="en-US" sz="1400" spc="28" dirty="0">
                    <a:solidFill>
                      <a:srgbClr val="2946BF"/>
                    </a:solidFill>
                    <a:latin typeface="Fredoka SemiBold" pitchFamily="2" charset="-79"/>
                  </a:rPr>
                  <a:t>want to learn more about related to today's topic</a:t>
                </a:r>
              </a:p>
            </p:txBody>
          </p:sp>
          <p:sp>
            <p:nvSpPr>
              <p:cNvPr id="22" name="Freeform 22"/>
              <p:cNvSpPr/>
              <p:nvPr/>
            </p:nvSpPr>
            <p:spPr>
              <a:xfrm>
                <a:off x="756000" y="7734793"/>
                <a:ext cx="6041101" cy="2201207"/>
              </a:xfrm>
              <a:custGeom>
                <a:avLst/>
                <a:gdLst/>
                <a:ahLst/>
                <a:cxnLst/>
                <a:rect l="l" t="t" r="r" b="b"/>
                <a:pathLst>
                  <a:path w="2164994" h="788863">
                    <a:moveTo>
                      <a:pt x="47417" y="0"/>
                    </a:moveTo>
                    <a:lnTo>
                      <a:pt x="2117577" y="0"/>
                    </a:lnTo>
                    <a:cubicBezTo>
                      <a:pt x="2143765" y="0"/>
                      <a:pt x="2164994" y="21229"/>
                      <a:pt x="2164994" y="47417"/>
                    </a:cubicBezTo>
                    <a:lnTo>
                      <a:pt x="2164994" y="741446"/>
                    </a:lnTo>
                    <a:cubicBezTo>
                      <a:pt x="2164994" y="767633"/>
                      <a:pt x="2143765" y="788863"/>
                      <a:pt x="2117577" y="788863"/>
                    </a:cubicBezTo>
                    <a:lnTo>
                      <a:pt x="47417" y="788863"/>
                    </a:lnTo>
                    <a:cubicBezTo>
                      <a:pt x="34841" y="788863"/>
                      <a:pt x="22781" y="783867"/>
                      <a:pt x="13888" y="774975"/>
                    </a:cubicBezTo>
                    <a:cubicBezTo>
                      <a:pt x="4996" y="766082"/>
                      <a:pt x="0" y="754022"/>
                      <a:pt x="0" y="741446"/>
                    </a:cubicBezTo>
                    <a:lnTo>
                      <a:pt x="0" y="47417"/>
                    </a:lnTo>
                    <a:cubicBezTo>
                      <a:pt x="0" y="34841"/>
                      <a:pt x="4996" y="22781"/>
                      <a:pt x="13888" y="13888"/>
                    </a:cubicBezTo>
                    <a:cubicBezTo>
                      <a:pt x="22781" y="4996"/>
                      <a:pt x="34841" y="0"/>
                      <a:pt x="474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4288" cap="rnd">
                <a:solidFill>
                  <a:srgbClr val="2946BF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80B6771-7D97-709B-EBB7-7FE9EAA6EB2C}"/>
                </a:ext>
              </a:extLst>
            </p:cNvPr>
            <p:cNvGrpSpPr/>
            <p:nvPr/>
          </p:nvGrpSpPr>
          <p:grpSpPr>
            <a:xfrm>
              <a:off x="756000" y="5527783"/>
              <a:ext cx="6046298" cy="1237315"/>
              <a:chOff x="756000" y="5533220"/>
              <a:chExt cx="6046298" cy="1237315"/>
            </a:xfrm>
          </p:grpSpPr>
          <p:sp>
            <p:nvSpPr>
              <p:cNvPr id="27" name="Freeform 27"/>
              <p:cNvSpPr/>
              <p:nvPr/>
            </p:nvSpPr>
            <p:spPr>
              <a:xfrm>
                <a:off x="756000" y="5927178"/>
                <a:ext cx="6041101" cy="843357"/>
              </a:xfrm>
              <a:custGeom>
                <a:avLst/>
                <a:gdLst/>
                <a:ahLst/>
                <a:cxnLst/>
                <a:rect l="l" t="t" r="r" b="b"/>
                <a:pathLst>
                  <a:path w="2164994" h="302240">
                    <a:moveTo>
                      <a:pt x="38446" y="0"/>
                    </a:moveTo>
                    <a:lnTo>
                      <a:pt x="2126548" y="0"/>
                    </a:lnTo>
                    <a:cubicBezTo>
                      <a:pt x="2147781" y="0"/>
                      <a:pt x="2164994" y="17213"/>
                      <a:pt x="2164994" y="38446"/>
                    </a:cubicBezTo>
                    <a:lnTo>
                      <a:pt x="2164994" y="263794"/>
                    </a:lnTo>
                    <a:cubicBezTo>
                      <a:pt x="2164994" y="285027"/>
                      <a:pt x="2147781" y="302240"/>
                      <a:pt x="2126548" y="302240"/>
                    </a:cubicBezTo>
                    <a:lnTo>
                      <a:pt x="38446" y="302240"/>
                    </a:lnTo>
                    <a:cubicBezTo>
                      <a:pt x="17213" y="302240"/>
                      <a:pt x="0" y="285027"/>
                      <a:pt x="0" y="263794"/>
                    </a:cubicBezTo>
                    <a:lnTo>
                      <a:pt x="0" y="38446"/>
                    </a:lnTo>
                    <a:cubicBezTo>
                      <a:pt x="0" y="17213"/>
                      <a:pt x="17213" y="0"/>
                      <a:pt x="384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rnd">
                <a:solidFill>
                  <a:srgbClr val="2946BF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764600" y="5533220"/>
                <a:ext cx="6037698" cy="21518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820"/>
                  </a:lnSpc>
                </a:pPr>
                <a:r>
                  <a:rPr lang="en-US" sz="1400" spc="28" dirty="0">
                    <a:solidFill>
                      <a:srgbClr val="2946BF"/>
                    </a:solidFill>
                    <a:latin typeface="Fredoka SemiBold" pitchFamily="2" charset="-79"/>
                  </a:rPr>
                  <a:t>Can you name one new thing you learned today?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4BD0E04-190E-61A2-5EC6-A63108E011C6}"/>
                </a:ext>
              </a:extLst>
            </p:cNvPr>
            <p:cNvGrpSpPr/>
            <p:nvPr/>
          </p:nvGrpSpPr>
          <p:grpSpPr>
            <a:xfrm>
              <a:off x="756000" y="3083686"/>
              <a:ext cx="6046298" cy="2096961"/>
              <a:chOff x="756000" y="3094409"/>
              <a:chExt cx="6046298" cy="2096961"/>
            </a:xfrm>
          </p:grpSpPr>
          <p:sp>
            <p:nvSpPr>
              <p:cNvPr id="15" name="TextBox 15"/>
              <p:cNvSpPr txBox="1"/>
              <p:nvPr/>
            </p:nvSpPr>
            <p:spPr>
              <a:xfrm>
                <a:off x="764600" y="3094409"/>
                <a:ext cx="6037698" cy="21518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820"/>
                  </a:lnSpc>
                </a:pPr>
                <a:r>
                  <a:rPr lang="en-US" sz="1400" spc="28" dirty="0">
                    <a:solidFill>
                      <a:srgbClr val="2946BF"/>
                    </a:solidFill>
                    <a:latin typeface="Fredoka SemiBold" pitchFamily="2" charset="-79"/>
                  </a:rPr>
                  <a:t>What was your favorite part of today's lesson and why?</a:t>
                </a:r>
              </a:p>
            </p:txBody>
          </p:sp>
          <p:sp>
            <p:nvSpPr>
              <p:cNvPr id="17" name="Freeform 17"/>
              <p:cNvSpPr/>
              <p:nvPr/>
            </p:nvSpPr>
            <p:spPr>
              <a:xfrm>
                <a:off x="756000" y="3488217"/>
                <a:ext cx="6041101" cy="1703153"/>
              </a:xfrm>
              <a:custGeom>
                <a:avLst/>
                <a:gdLst/>
                <a:ahLst/>
                <a:cxnLst/>
                <a:rect l="l" t="t" r="r" b="b"/>
                <a:pathLst>
                  <a:path w="2164994" h="610372">
                    <a:moveTo>
                      <a:pt x="47417" y="0"/>
                    </a:moveTo>
                    <a:lnTo>
                      <a:pt x="2117577" y="0"/>
                    </a:lnTo>
                    <a:cubicBezTo>
                      <a:pt x="2143765" y="0"/>
                      <a:pt x="2164994" y="21229"/>
                      <a:pt x="2164994" y="47417"/>
                    </a:cubicBezTo>
                    <a:lnTo>
                      <a:pt x="2164994" y="562955"/>
                    </a:lnTo>
                    <a:cubicBezTo>
                      <a:pt x="2164994" y="575530"/>
                      <a:pt x="2159999" y="587591"/>
                      <a:pt x="2151106" y="596483"/>
                    </a:cubicBezTo>
                    <a:cubicBezTo>
                      <a:pt x="2142214" y="605376"/>
                      <a:pt x="2130153" y="610372"/>
                      <a:pt x="2117577" y="610372"/>
                    </a:cubicBezTo>
                    <a:lnTo>
                      <a:pt x="47417" y="610372"/>
                    </a:lnTo>
                    <a:cubicBezTo>
                      <a:pt x="21229" y="610372"/>
                      <a:pt x="0" y="589142"/>
                      <a:pt x="0" y="562955"/>
                    </a:cubicBezTo>
                    <a:lnTo>
                      <a:pt x="0" y="47417"/>
                    </a:lnTo>
                    <a:cubicBezTo>
                      <a:pt x="0" y="34841"/>
                      <a:pt x="4996" y="22781"/>
                      <a:pt x="13888" y="13888"/>
                    </a:cubicBezTo>
                    <a:cubicBezTo>
                      <a:pt x="22781" y="4996"/>
                      <a:pt x="34841" y="0"/>
                      <a:pt x="474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rnd">
                <a:solidFill>
                  <a:srgbClr val="2946BF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669639E-5879-0B2C-92D4-5FD9B786AFCB}"/>
                </a:ext>
              </a:extLst>
            </p:cNvPr>
            <p:cNvGrpSpPr/>
            <p:nvPr/>
          </p:nvGrpSpPr>
          <p:grpSpPr>
            <a:xfrm>
              <a:off x="749649" y="2159558"/>
              <a:ext cx="6047451" cy="496335"/>
              <a:chOff x="749649" y="2252719"/>
              <a:chExt cx="6047451" cy="496335"/>
            </a:xfrm>
          </p:grpSpPr>
          <p:sp>
            <p:nvSpPr>
              <p:cNvPr id="3" name="Rectangle: Rounded Corners 2">
                <a:extLst>
                  <a:ext uri="{FF2B5EF4-FFF2-40B4-BE49-F238E27FC236}">
                    <a16:creationId xmlns:a16="http://schemas.microsoft.com/office/drawing/2014/main" id="{6D385BFF-070A-F338-1AF7-273B9330D291}"/>
                  </a:ext>
                </a:extLst>
              </p:cNvPr>
              <p:cNvSpPr/>
              <p:nvPr/>
            </p:nvSpPr>
            <p:spPr>
              <a:xfrm>
                <a:off x="4306757" y="2252719"/>
                <a:ext cx="2490343" cy="496335"/>
              </a:xfrm>
              <a:prstGeom prst="roundRect">
                <a:avLst>
                  <a:gd name="adj" fmla="val 28181"/>
                </a:avLst>
              </a:prstGeom>
              <a:solidFill>
                <a:srgbClr val="FFFFFF"/>
              </a:solidFill>
              <a:ln w="19050">
                <a:solidFill>
                  <a:srgbClr val="2946B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40659B9E-B1FE-6B55-BB5A-9CCE43AE4DC4}"/>
                  </a:ext>
                </a:extLst>
              </p:cNvPr>
              <p:cNvSpPr/>
              <p:nvPr/>
            </p:nvSpPr>
            <p:spPr>
              <a:xfrm>
                <a:off x="749649" y="2252719"/>
                <a:ext cx="3350733" cy="496335"/>
              </a:xfrm>
              <a:prstGeom prst="roundRect">
                <a:avLst>
                  <a:gd name="adj" fmla="val 28181"/>
                </a:avLst>
              </a:prstGeom>
              <a:solidFill>
                <a:srgbClr val="FFFFFF"/>
              </a:solidFill>
              <a:ln w="19050">
                <a:solidFill>
                  <a:srgbClr val="2946B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TextBox 33"/>
              <p:cNvSpPr txBox="1"/>
              <p:nvPr/>
            </p:nvSpPr>
            <p:spPr>
              <a:xfrm>
                <a:off x="992303" y="2423365"/>
                <a:ext cx="1771248" cy="15504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0"/>
                  </a:lnSpc>
                </a:pPr>
                <a:r>
                  <a:rPr lang="en-US" sz="1000" spc="20" dirty="0">
                    <a:solidFill>
                      <a:srgbClr val="2946BF"/>
                    </a:solidFill>
                    <a:latin typeface="Fredoka SemiBold" pitchFamily="2" charset="-79"/>
                  </a:rPr>
                  <a:t>Name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4543062" y="2423365"/>
                <a:ext cx="1771248" cy="15504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0"/>
                  </a:lnSpc>
                </a:pPr>
                <a:r>
                  <a:rPr lang="en-US" sz="1000" spc="20" dirty="0">
                    <a:solidFill>
                      <a:srgbClr val="2946BF"/>
                    </a:solidFill>
                    <a:latin typeface="Fredoka SemiBold" pitchFamily="2" charset="-79"/>
                  </a:rPr>
                  <a:t>Date</a:t>
                </a:r>
              </a:p>
            </p:txBody>
          </p:sp>
        </p:grpSp>
        <p:sp>
          <p:nvSpPr>
            <p:cNvPr id="24" name="TextBox 24"/>
            <p:cNvSpPr txBox="1"/>
            <p:nvPr/>
          </p:nvSpPr>
          <p:spPr>
            <a:xfrm>
              <a:off x="1294304" y="822675"/>
              <a:ext cx="4967892" cy="107040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107"/>
                </a:lnSpc>
              </a:pPr>
              <a:r>
                <a:rPr lang="en-US" sz="4100" dirty="0">
                  <a:solidFill>
                    <a:srgbClr val="2946BF"/>
                  </a:solidFill>
                  <a:latin typeface="Fredoka SemiBold" pitchFamily="2" charset="-79"/>
                </a:rPr>
                <a:t>Classroom exit ticket template</a:t>
              </a:r>
            </a:p>
          </p:txBody>
        </p:sp>
        <p:sp>
          <p:nvSpPr>
            <p:cNvPr id="38" name="TemplateLAB"/>
            <p:cNvSpPr/>
            <p:nvPr/>
          </p:nvSpPr>
          <p:spPr>
            <a:xfrm>
              <a:off x="3285790" y="10227317"/>
              <a:ext cx="988421" cy="163089"/>
            </a:xfrm>
            <a:custGeom>
              <a:avLst/>
              <a:gdLst/>
              <a:ahLst/>
              <a:cxnLst/>
              <a:rect l="l" t="t" r="r" b="b"/>
              <a:pathLst>
                <a:path w="988421" h="163089">
                  <a:moveTo>
                    <a:pt x="0" y="0"/>
                  </a:moveTo>
                  <a:lnTo>
                    <a:pt x="988420" y="0"/>
                  </a:lnTo>
                  <a:lnTo>
                    <a:pt x="988420" y="163089"/>
                  </a:lnTo>
                  <a:lnTo>
                    <a:pt x="0" y="1630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</TotalTime>
  <Words>46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Fredoka SemiBold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4</cp:revision>
  <dcterms:created xsi:type="dcterms:W3CDTF">2006-08-16T00:00:00Z</dcterms:created>
  <dcterms:modified xsi:type="dcterms:W3CDTF">2023-09-29T10:01:09Z</dcterms:modified>
  <dc:identifier>DAFvahlxRyY</dc:identifier>
</cp:coreProperties>
</file>